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0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4" d="100"/>
          <a:sy n="104" d="100"/>
        </p:scale>
        <p:origin x="182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 Januar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440EF10-D629-4F2F-BFB6-AE76898A3CA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吹瓶空气回收量高达</a:t>
            </a:r>
            <a:r>
              <a:rPr dirty="0">
                <a:latin typeface="+mn-lt"/>
                <a:cs typeface="FZZhunYuan-M02S"/>
              </a:rPr>
              <a:t>40%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>
                <a:cs typeface="FZZhunYuan-M02S"/>
              </a:rPr>
              <a:t>ARK</a:t>
            </a:r>
            <a:r>
              <a:rPr lang="en-US" altLang="fr-FR" dirty="0">
                <a:latin typeface="FZZhunYuan-M02S"/>
                <a:cs typeface="FZZhunYuan-M02S"/>
              </a:rPr>
              <a:t>：空气回收套件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lvl="0">
              <a:defRPr/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优化成本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, </a:t>
            </a:r>
            <a:r>
              <a:rPr lang="ja-JP" altLang="fr-FR">
                <a:solidFill>
                  <a:srgbClr val="000000"/>
                </a:solidFill>
                <a:latin typeface="FZZhunYuan-M02S"/>
                <a:cs typeface="FZZhunYuan-M02S"/>
              </a:rPr>
              <a:t>可持续发展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Series 2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吹瓶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543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cs typeface="FZZhunYuan-M02S"/>
                        </a:rPr>
                        <a:t>40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巴吹瓶空气压力下，节气达15%至40%，</a:t>
                      </a:r>
                      <a:r>
                        <a:rPr lang="en-US" sz="1200" b="0" dirty="0"/>
                        <a:t>具体取决于工艺参数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7巴吹瓶压力下，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cs typeface="FZZhunYuan-M02S"/>
                        </a:rPr>
                        <a:t>95%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的情况下节气可达到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cs typeface="FZZhunYuan-M02S"/>
                        </a:rPr>
                        <a:t>100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%</a:t>
                      </a:r>
                      <a:r>
                        <a:rPr lang="en-US" sz="1200" b="0" dirty="0"/>
                        <a:t>。启动主系统，仅需</a:t>
                      </a:r>
                      <a:r>
                        <a:rPr lang="en-US" sz="1200" b="0" dirty="0">
                          <a:latin typeface="+mn-lt"/>
                        </a:rPr>
                        <a:t>20</a:t>
                      </a:r>
                      <a:r>
                        <a:rPr lang="en-US" sz="1200" b="0" dirty="0"/>
                        <a:t>标准立方米/小时的空气流量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 err="1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保证始终如一的包装瓶质量</a:t>
                      </a:r>
                      <a:r>
                        <a:rPr dirty="0" err="1"/>
                        <a:t>（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工艺参数不变的情况下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）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err="1"/>
                        <a:t>运行可靠</a:t>
                      </a:r>
                      <a:r>
                        <a:rPr lang="en-US" sz="1200" b="0" dirty="0"/>
                        <a:t>。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无需维护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减少投资</a:t>
                      </a:r>
                      <a:r>
                        <a:rPr lang="en-US" sz="1200" b="0" dirty="0"/>
                        <a:t>（可调整压缩机的规格，使其与生产完美契合）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空气回收量与吹瓶机类型有关，另外还取决于生产条件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产出率、吹瓶站数量、预吹瓶气压和吹瓶气压、包装瓶容量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回收后的空气可重新使用，作为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ZZhunYuan-M02S"/>
                        <a:cs typeface="FZZhunYuan-M02S"/>
                      </a:endParaRP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预吹瓶空气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拉伸气缸和吹嘴气缸空气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从机器出来的低压气体</a:t>
                      </a:r>
                      <a:br>
                        <a:rPr lang="zh-CN" altLang="fr-FR" sz="1200" dirty="0"/>
                      </a:b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（吹瓶机相当于低压压缩机）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ZZhunYuan-M02S"/>
                        <a:cs typeface="FZZhunYuan-M02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要安装此</a:t>
                      </a:r>
                      <a:r>
                        <a:rPr kumimoji="0" lang="fr-FR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O&amp;U</a:t>
                      </a: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（选项与升级），</a:t>
                      </a:r>
                      <a:r>
                        <a:rPr kumimoji="0" lang="fr-FR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PCC</a:t>
                      </a: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版本不能低于</a:t>
                      </a:r>
                      <a:r>
                        <a:rPr kumimoji="0" lang="fr-FR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V2.02</a:t>
                      </a: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。如低于此版本，必须升级</a:t>
                      </a:r>
                      <a:r>
                        <a:rPr kumimoji="0" lang="fr-FR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PCC</a:t>
                      </a: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才能安装。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1" name="Picture 11" descr="543_serie 2_a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124" y="4361035"/>
            <a:ext cx="2056228" cy="1263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6C70E49D-6F5E-402D-8466-67165FDB2E6E}"/>
              </a:ext>
            </a:extLst>
          </p:cNvPr>
          <p:cNvSpPr/>
          <p:nvPr/>
        </p:nvSpPr>
        <p:spPr>
          <a:xfrm>
            <a:off x="4774281" y="1743075"/>
            <a:ext cx="3870354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描述</a:t>
            </a:r>
            <a:endParaRPr kumimoji="0" lang="zh-CN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</p:txBody>
      </p:sp>
    </p:spTree>
    <p:extLst>
      <p:ext uri="{BB962C8B-B14F-4D97-AF65-F5344CB8AC3E}">
        <p14:creationId xmlns:p14="http://schemas.microsoft.com/office/powerpoint/2010/main" val="41023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03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FZZhunYuan-M02S</vt:lpstr>
      <vt:lpstr>Wingdings</vt:lpstr>
      <vt:lpstr>LIOMT</vt:lpstr>
      <vt:lpstr>think-cell Folie</vt:lpstr>
      <vt:lpstr>吹瓶空气回收量高达40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5</cp:revision>
  <dcterms:created xsi:type="dcterms:W3CDTF">2014-05-22T13:23:46Z</dcterms:created>
  <dcterms:modified xsi:type="dcterms:W3CDTF">2021-01-04T16:0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2:37:24.6281672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